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69"/>
  </p:notesMasterIdLst>
  <p:handoutMasterIdLst>
    <p:handoutMasterId r:id="rId70"/>
  </p:handoutMasterIdLst>
  <p:sldIdLst>
    <p:sldId id="445" r:id="rId2"/>
    <p:sldId id="595" r:id="rId3"/>
    <p:sldId id="521" r:id="rId4"/>
    <p:sldId id="519" r:id="rId5"/>
    <p:sldId id="504" r:id="rId6"/>
    <p:sldId id="510" r:id="rId7"/>
    <p:sldId id="499" r:id="rId8"/>
    <p:sldId id="527" r:id="rId9"/>
    <p:sldId id="530" r:id="rId10"/>
    <p:sldId id="520" r:id="rId11"/>
    <p:sldId id="528" r:id="rId12"/>
    <p:sldId id="531" r:id="rId13"/>
    <p:sldId id="525" r:id="rId14"/>
    <p:sldId id="537" r:id="rId15"/>
    <p:sldId id="542" r:id="rId16"/>
    <p:sldId id="543" r:id="rId17"/>
    <p:sldId id="597" r:id="rId18"/>
    <p:sldId id="544" r:id="rId19"/>
    <p:sldId id="546" r:id="rId20"/>
    <p:sldId id="575" r:id="rId21"/>
    <p:sldId id="547" r:id="rId22"/>
    <p:sldId id="599" r:id="rId23"/>
    <p:sldId id="550" r:id="rId24"/>
    <p:sldId id="541" r:id="rId25"/>
    <p:sldId id="526" r:id="rId26"/>
    <p:sldId id="554" r:id="rId27"/>
    <p:sldId id="539" r:id="rId28"/>
    <p:sldId id="551" r:id="rId29"/>
    <p:sldId id="552" r:id="rId30"/>
    <p:sldId id="578" r:id="rId31"/>
    <p:sldId id="559" r:id="rId32"/>
    <p:sldId id="593" r:id="rId33"/>
    <p:sldId id="556" r:id="rId34"/>
    <p:sldId id="560" r:id="rId35"/>
    <p:sldId id="557" r:id="rId36"/>
    <p:sldId id="562" r:id="rId37"/>
    <p:sldId id="598" r:id="rId38"/>
    <p:sldId id="558" r:id="rId39"/>
    <p:sldId id="563" r:id="rId40"/>
    <p:sldId id="564" r:id="rId41"/>
    <p:sldId id="565" r:id="rId42"/>
    <p:sldId id="567" r:id="rId43"/>
    <p:sldId id="569" r:id="rId44"/>
    <p:sldId id="570" r:id="rId45"/>
    <p:sldId id="572" r:id="rId46"/>
    <p:sldId id="573" r:id="rId47"/>
    <p:sldId id="576" r:id="rId48"/>
    <p:sldId id="577" r:id="rId49"/>
    <p:sldId id="580" r:id="rId50"/>
    <p:sldId id="581" r:id="rId51"/>
    <p:sldId id="582" r:id="rId52"/>
    <p:sldId id="583" r:id="rId53"/>
    <p:sldId id="584" r:id="rId54"/>
    <p:sldId id="585" r:id="rId55"/>
    <p:sldId id="589" r:id="rId56"/>
    <p:sldId id="590" r:id="rId57"/>
    <p:sldId id="591" r:id="rId58"/>
    <p:sldId id="592" r:id="rId59"/>
    <p:sldId id="579" r:id="rId60"/>
    <p:sldId id="548" r:id="rId61"/>
    <p:sldId id="549" r:id="rId62"/>
    <p:sldId id="596" r:id="rId63"/>
    <p:sldId id="594" r:id="rId64"/>
    <p:sldId id="586" r:id="rId65"/>
    <p:sldId id="523" r:id="rId66"/>
    <p:sldId id="514" r:id="rId67"/>
    <p:sldId id="500" r:id="rId68"/>
  </p:sldIdLst>
  <p:sldSz cx="9144000" cy="5143500" type="screen16x9"/>
  <p:notesSz cx="6797675" cy="9928225"/>
  <p:custDataLst>
    <p:tags r:id="rId71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13">
          <p15:clr>
            <a:srgbClr val="A4A3A4"/>
          </p15:clr>
        </p15:guide>
        <p15:guide id="2" orient="horz" pos="2887">
          <p15:clr>
            <a:srgbClr val="A4A3A4"/>
          </p15:clr>
        </p15:guide>
        <p15:guide id="3" orient="horz" pos="565">
          <p15:clr>
            <a:srgbClr val="A4A3A4"/>
          </p15:clr>
        </p15:guide>
        <p15:guide id="4" orient="horz" pos="74">
          <p15:clr>
            <a:srgbClr val="A4A3A4"/>
          </p15:clr>
        </p15:guide>
        <p15:guide id="5" pos="267">
          <p15:clr>
            <a:srgbClr val="A4A3A4"/>
          </p15:clr>
        </p15:guide>
        <p15:guide id="6" pos="5497">
          <p15:clr>
            <a:srgbClr val="A4A3A4"/>
          </p15:clr>
        </p15:guide>
        <p15:guide id="7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900"/>
    <a:srgbClr val="E01712"/>
    <a:srgbClr val="008000"/>
    <a:srgbClr val="E2AC00"/>
    <a:srgbClr val="006600"/>
    <a:srgbClr val="000000"/>
    <a:srgbClr val="00CCFF"/>
    <a:srgbClr val="750C09"/>
    <a:srgbClr val="33CCCC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49" autoAdjust="0"/>
    <p:restoredTop sz="97097" autoAdjust="0"/>
  </p:normalViewPr>
  <p:slideViewPr>
    <p:cSldViewPr snapToGrid="0" snapToObjects="1" showGuides="1">
      <p:cViewPr varScale="1">
        <p:scale>
          <a:sx n="209" d="100"/>
          <a:sy n="209" d="100"/>
        </p:scale>
        <p:origin x="440" y="184"/>
      </p:cViewPr>
      <p:guideLst>
        <p:guide orient="horz" pos="713"/>
        <p:guide orient="horz" pos="2887"/>
        <p:guide orient="horz" pos="565"/>
        <p:guide orient="horz" pos="74"/>
        <p:guide pos="267"/>
        <p:guide pos="5497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38DF9-39A8-5A4D-AD39-3E7947FBDA10}" type="datetimeFigureOut">
              <a:rPr lang="en-US" smtClean="0"/>
              <a:t>7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EEC34-554C-CE4F-97AF-A326C8BA2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16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2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2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466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62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906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249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01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2479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7990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ROC &amp; AUC for binary classification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3523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61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0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09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0233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2172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488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9662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8386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536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59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104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1837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701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217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791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9472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786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32916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900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430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637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95015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097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39865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295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120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952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6739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6763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7558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0675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7626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25910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3530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33620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56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88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9237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9564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0879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6037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84845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2449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8370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8790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2944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844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54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68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99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16188" y="4813786"/>
            <a:ext cx="8929083" cy="270965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523" y="128682"/>
            <a:ext cx="712800" cy="729000"/>
          </a:xfrm>
          <a:prstGeom prst="rect">
            <a:avLst/>
          </a:prstGeom>
        </p:spPr>
      </p:pic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0" y="-6892"/>
            <a:ext cx="9162000" cy="913417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8154546" y="245881"/>
            <a:ext cx="667515" cy="718185"/>
            <a:chOff x="8154546" y="245881"/>
            <a:chExt cx="667515" cy="718185"/>
          </a:xfrm>
        </p:grpSpPr>
        <p:sp>
          <p:nvSpPr>
            <p:cNvPr id="16" name="Rectangle 2"/>
            <p:cNvSpPr>
              <a:spLocks noChangeArrowheads="1"/>
            </p:cNvSpPr>
            <p:nvPr userDrawn="1"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</a:endParaRPr>
            </a:p>
          </p:txBody>
        </p:sp>
        <p:pic>
          <p:nvPicPr>
            <p:cNvPr id="18" name="Picture 17" descr="logo.pdf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969" y="245881"/>
              <a:ext cx="526669" cy="718185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815958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6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16188" y="4813786"/>
            <a:ext cx="8931036" cy="270965"/>
            <a:chOff x="6337134" y="2762841"/>
            <a:chExt cx="2806866" cy="361287"/>
          </a:xfrm>
        </p:grpSpPr>
        <p:sp>
          <p:nvSpPr>
            <p:cNvPr id="11" name="Rectangle 1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pic>
        <p:nvPicPr>
          <p:cNvPr id="16" name="Picture 15" descr="logo.pdf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780" y="263482"/>
            <a:ext cx="708279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2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pic>
        <p:nvPicPr>
          <p:cNvPr id="22" name="Picture 21" descr="logo.pd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978" y="4319136"/>
            <a:ext cx="544830" cy="74295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387288" y="4745500"/>
            <a:ext cx="4191000" cy="252000"/>
            <a:chOff x="6337134" y="2762841"/>
            <a:chExt cx="1403652" cy="361287"/>
          </a:xfrm>
        </p:grpSpPr>
        <p:sp>
          <p:nvSpPr>
            <p:cNvPr id="27" name="Rectangle 26"/>
            <p:cNvSpPr/>
            <p:nvPr/>
          </p:nvSpPr>
          <p:spPr>
            <a:xfrm>
              <a:off x="6337134" y="2762841"/>
              <a:ext cx="140365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37134" y="2896203"/>
              <a:ext cx="140365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37134" y="3029563"/>
              <a:ext cx="140365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-3108" y="0"/>
            <a:ext cx="9147108" cy="330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2032" y="4847825"/>
            <a:ext cx="4149968" cy="212366"/>
          </a:xfrm>
        </p:spPr>
        <p:txBody>
          <a:bodyPr tIns="15585" bIns="15585">
            <a:noAutofit/>
          </a:bodyPr>
          <a:lstStyle>
            <a:lvl1pPr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4765524" y="1172123"/>
            <a:ext cx="4343530" cy="101294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4"/>
          <p:cNvSpPr>
            <a:spLocks noGrp="1"/>
          </p:cNvSpPr>
          <p:nvPr>
            <p:ph type="body" sz="quarter" idx="10"/>
          </p:nvPr>
        </p:nvSpPr>
        <p:spPr>
          <a:xfrm>
            <a:off x="4765524" y="2217583"/>
            <a:ext cx="4343530" cy="637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4572000" y="2943445"/>
            <a:ext cx="4572000" cy="358555"/>
            <a:chOff x="6865228" y="3924592"/>
            <a:chExt cx="3040772" cy="361287"/>
          </a:xfrm>
        </p:grpSpPr>
        <p:sp>
          <p:nvSpPr>
            <p:cNvPr id="18" name="Rectangle 17"/>
            <p:cNvSpPr/>
            <p:nvPr/>
          </p:nvSpPr>
          <p:spPr>
            <a:xfrm>
              <a:off x="6865228" y="3924592"/>
              <a:ext cx="304077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65228" y="4057954"/>
              <a:ext cx="304077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65228" y="4191314"/>
              <a:ext cx="304077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23" name="Picture 22" descr="logo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934" y="20599"/>
            <a:ext cx="1064721" cy="13402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781314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28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B31D7A4E-C928-1843-B0B6-6EFCF3987C19}" type="datetimeFigureOut">
              <a:rPr lang="en-US" smtClean="0"/>
              <a:t>7/22/21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433E4C0E-AD51-6C4B-A21E-8AFB2F954A2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0" name="Picture 9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88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9" name="Picture 8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7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86989" y="880518"/>
            <a:ext cx="8442723" cy="623841"/>
          </a:xfrm>
        </p:spPr>
        <p:txBody>
          <a:bodyPr>
            <a:normAutofit/>
          </a:bodyPr>
          <a:lstStyle/>
          <a:p>
            <a:r>
              <a:rPr lang="en-GB" sz="3400"/>
              <a:t>Click to edit Master title style</a:t>
            </a:r>
            <a:endParaRPr lang="en-US" sz="340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260804" y="254497"/>
            <a:ext cx="8773541" cy="340297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r>
              <a:rPr lang="en-US" sz="1700" dirty="0">
                <a:latin typeface="Calibri"/>
                <a:cs typeface="Calibri"/>
              </a:rPr>
              <a:t>Malawi-Liverpool-Wellcome Trust Clinical Research Programm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286988" y="581416"/>
            <a:ext cx="6769893" cy="270965"/>
            <a:chOff x="6337134" y="2762841"/>
            <a:chExt cx="2806866" cy="361287"/>
          </a:xfrm>
        </p:grpSpPr>
        <p:sp>
          <p:nvSpPr>
            <p:cNvPr id="21" name="Rectangle 2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r>
              <a:rPr lang="en-GB"/>
              <a:t>1-Mar-17</a:t>
            </a:r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fld id="{433E4C0E-AD51-6C4B-A21E-8AFB2F954A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287216" y="1693667"/>
            <a:ext cx="8442081" cy="2808685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pic>
        <p:nvPicPr>
          <p:cNvPr id="14" name="Picture 13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65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0" y="269735"/>
            <a:ext cx="8301046" cy="6237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F12C31-0816-554B-87C1-5C8E694615A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4847965"/>
            <a:ext cx="703655" cy="2955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63D1A8B-C4EC-4E49-9E91-5ABB89523881}"/>
              </a:ext>
            </a:extLst>
          </p:cNvPr>
          <p:cNvSpPr txBox="1"/>
          <p:nvPr userDrawn="1"/>
        </p:nvSpPr>
        <p:spPr>
          <a:xfrm>
            <a:off x="631902" y="4847965"/>
            <a:ext cx="4081345" cy="30486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MW" sz="800" dirty="0"/>
              <a:t>This work is licensed under a Creative Commons Attribution 4.0 International licens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49" r:id="rId3"/>
    <p:sldLayoutId id="2147483658" r:id="rId4"/>
    <p:sldLayoutId id="2147483666" r:id="rId5"/>
    <p:sldLayoutId id="2147483663" r:id="rId6"/>
    <p:sldLayoutId id="2147483654" r:id="rId7"/>
    <p:sldLayoutId id="2147483664" r:id="rId8"/>
    <p:sldLayoutId id="2147483662" r:id="rId9"/>
    <p:sldLayoutId id="2147483655" r:id="rId10"/>
    <p:sldLayoutId id="2147483665" r:id="rId11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37" indent="-198871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70" indent="-196166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21.png"/><Relationship Id="rId4" Type="http://schemas.openxmlformats.org/officeDocument/2006/relationships/image" Target="../media/image13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cran.r-project.org/" TargetMode="Externa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topepo.github.io/caret/index.html" TargetMode="External"/><Relationship Id="rId5" Type="http://schemas.openxmlformats.org/officeDocument/2006/relationships/hyperlink" Target="https://www.cs.waikato.ac.nz/ml/weka/" TargetMode="External"/><Relationship Id="rId4" Type="http://schemas.openxmlformats.org/officeDocument/2006/relationships/hyperlink" Target="https://www.python.org/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297F34-81B0-4D7A-9A6B-5F3F4046EA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576" y="1434431"/>
            <a:ext cx="1158289" cy="1158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CB195D-D7DE-40A9-8D73-757A29DA6DEE}"/>
              </a:ext>
            </a:extLst>
          </p:cNvPr>
          <p:cNvSpPr txBox="1"/>
          <p:nvPr/>
        </p:nvSpPr>
        <p:spPr>
          <a:xfrm>
            <a:off x="2291568" y="1288127"/>
            <a:ext cx="4560864" cy="3598078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2400" b="1" dirty="0" err="1"/>
              <a:t>IndabaX</a:t>
            </a:r>
            <a:r>
              <a:rPr lang="en-GB" sz="2400" b="1" dirty="0"/>
              <a:t> Malawi</a:t>
            </a:r>
          </a:p>
          <a:p>
            <a:pPr algn="ctr"/>
            <a:r>
              <a:rPr lang="en-GB" sz="1400" dirty="0"/>
              <a:t>22 July 2021</a:t>
            </a:r>
          </a:p>
          <a:p>
            <a:pPr algn="ctr"/>
            <a:r>
              <a:rPr lang="en-GB" sz="1400" dirty="0"/>
              <a:t>MUBAS</a:t>
            </a:r>
          </a:p>
          <a:p>
            <a:pPr algn="ctr"/>
            <a:endParaRPr lang="en-GB" sz="1600" dirty="0"/>
          </a:p>
          <a:p>
            <a:pPr algn="ctr"/>
            <a:r>
              <a:rPr lang="en-GB" sz="1800" dirty="0"/>
              <a:t>Marc </a:t>
            </a:r>
            <a:r>
              <a:rPr lang="en-GB" sz="1800" dirty="0" err="1"/>
              <a:t>Henrion</a:t>
            </a:r>
            <a:endParaRPr lang="en-GB" sz="1800" dirty="0"/>
          </a:p>
          <a:p>
            <a:pPr algn="ctr"/>
            <a:r>
              <a:rPr lang="en-GB" sz="1200" dirty="0"/>
              <a:t>Statistical Support Unit, MLW</a:t>
            </a:r>
          </a:p>
          <a:p>
            <a:pPr algn="ctr"/>
            <a:r>
              <a:rPr lang="en-GB" sz="1200" dirty="0"/>
              <a:t>Biostatistics Associate Research Group, MLW</a:t>
            </a:r>
          </a:p>
          <a:p>
            <a:pPr algn="ctr"/>
            <a:r>
              <a:rPr lang="en-GB" sz="1200" dirty="0"/>
              <a:t>Clinical Sciences, LSTM</a:t>
            </a:r>
          </a:p>
          <a:p>
            <a:pPr algn="ctr"/>
            <a:endParaRPr lang="en-GB" sz="2400" b="1" dirty="0"/>
          </a:p>
          <a:p>
            <a:pPr algn="ctr"/>
            <a:r>
              <a:rPr lang="en-GB" sz="2400" b="1" dirty="0"/>
              <a:t>Statistics &amp; Machine Learning</a:t>
            </a:r>
          </a:p>
          <a:p>
            <a:pPr algn="ctr"/>
            <a:endParaRPr lang="en-GB" sz="2400" b="1" dirty="0"/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mhenrion@mlw.mw</a:t>
            </a:r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www.marchenrion.com</a:t>
            </a:r>
          </a:p>
        </p:txBody>
      </p:sp>
    </p:spTree>
    <p:extLst>
      <p:ext uri="{BB962C8B-B14F-4D97-AF65-F5344CB8AC3E}">
        <p14:creationId xmlns:p14="http://schemas.microsoft.com/office/powerpoint/2010/main" val="1831468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… &amp; statistics?</a:t>
            </a:r>
          </a:p>
        </p:txBody>
      </p:sp>
    </p:spTree>
    <p:extLst>
      <p:ext uri="{BB962C8B-B14F-4D97-AF65-F5344CB8AC3E}">
        <p14:creationId xmlns:p14="http://schemas.microsoft.com/office/powerpoint/2010/main" val="542404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600" dirty="0"/>
          </a:p>
          <a:p>
            <a:pPr lvl="1" indent="0">
              <a:buNone/>
            </a:pPr>
            <a:endParaRPr lang="en-GB" sz="1400" dirty="0"/>
          </a:p>
          <a:p>
            <a:pPr lvl="1" indent="0">
              <a:buNone/>
            </a:pPr>
            <a:endParaRPr lang="en-GB" sz="1400" dirty="0"/>
          </a:p>
          <a:p>
            <a:r>
              <a:rPr lang="en-US" dirty="0"/>
              <a:t>“When you’re fundraising, it’s AI.</a:t>
            </a:r>
          </a:p>
          <a:p>
            <a:r>
              <a:rPr lang="en-US" dirty="0"/>
              <a:t>  When you’re hiring, it’s ML.</a:t>
            </a:r>
          </a:p>
          <a:p>
            <a:r>
              <a:rPr lang="en-US" dirty="0"/>
              <a:t>  When you’re implementing, it’s logistic regression.”</a:t>
            </a:r>
          </a:p>
          <a:p>
            <a:r>
              <a:rPr lang="en-US" b="0" dirty="0"/>
              <a:t>								</a:t>
            </a:r>
            <a:r>
              <a:rPr lang="en-US" sz="1050" b="0" dirty="0"/>
              <a:t>The internet.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62505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tatistical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533B1E-475A-432D-9E55-FE1A184BAE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9080" y="1237876"/>
            <a:ext cx="2307769" cy="6025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E21280-8DAC-4458-B7BE-E174B6F6CE61}"/>
              </a:ext>
            </a:extLst>
          </p:cNvPr>
          <p:cNvSpPr/>
          <p:nvPr/>
        </p:nvSpPr>
        <p:spPr>
          <a:xfrm>
            <a:off x="494970" y="748622"/>
            <a:ext cx="2749914" cy="1097227"/>
          </a:xfrm>
          <a:prstGeom prst="ellipse">
            <a:avLst/>
          </a:prstGeom>
          <a:noFill/>
          <a:ln w="25400">
            <a:solidFill>
              <a:srgbClr val="92D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92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 lot of ML algorithms developed outside the context of statistical science.</a:t>
            </a:r>
          </a:p>
          <a:p>
            <a:r>
              <a:rPr lang="en-GB" sz="1800" b="0" dirty="0"/>
              <a:t>Many are heuristics – i.e. practical, not necessarily optimal.</a:t>
            </a:r>
          </a:p>
          <a:p>
            <a:endParaRPr lang="en-GB" sz="1800" b="0" dirty="0"/>
          </a:p>
          <a:p>
            <a:r>
              <a:rPr lang="en-GB" sz="1800" b="0" dirty="0"/>
              <a:t>Statisticians interested in knowing asymptotic properties of methods:</a:t>
            </a:r>
          </a:p>
          <a:p>
            <a:pPr marL="675376" lvl="1" indent="-285750"/>
            <a:r>
              <a:rPr lang="en-GB" sz="1500" dirty="0"/>
              <a:t>G</a:t>
            </a:r>
            <a:r>
              <a:rPr lang="en-GB" sz="1500" b="0" dirty="0"/>
              <a:t>iven infinite amounts of data, are you actually going to get the right solution?</a:t>
            </a:r>
          </a:p>
          <a:p>
            <a:pPr marL="675376" lvl="1" indent="-285750"/>
            <a:r>
              <a:rPr lang="en-GB" sz="1500" b="0" dirty="0"/>
              <a:t>If not, by how far are you off?</a:t>
            </a:r>
          </a:p>
          <a:p>
            <a:pPr marL="675376" lvl="1" indent="-285750"/>
            <a:r>
              <a:rPr lang="en-GB" sz="1500" b="0" dirty="0"/>
              <a:t>How precise will your estimate be?</a:t>
            </a:r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Estimated parameters have statistical properties: bias, variance, …</a:t>
            </a:r>
          </a:p>
          <a:p>
            <a:endParaRPr lang="en-GB" sz="1800" b="0" dirty="0"/>
          </a:p>
          <a:p>
            <a:r>
              <a:rPr lang="en-GB" sz="1800" b="0" dirty="0"/>
              <a:t>Much (most?) of statistics is about minimising the </a:t>
            </a:r>
            <a:r>
              <a:rPr lang="en-GB" sz="1800" dirty="0"/>
              <a:t>bias-variance trade-off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In other words:</a:t>
            </a:r>
          </a:p>
          <a:p>
            <a:r>
              <a:rPr lang="en-GB" sz="1800" b="0" dirty="0"/>
              <a:t>While an algorithm may work on a particular dataset, will it work in general with any dataset?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145635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2B118-FAC7-47EB-ACA8-48545BAA2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313" y="745647"/>
            <a:ext cx="5223373" cy="402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59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r>
                  <a:rPr lang="en-GB" sz="1800" b="0" dirty="0"/>
                  <a:t>Mathematically: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Assume 2 random variables, X &amp; Y, are related via the relationship:</a:t>
                </a:r>
              </a:p>
              <a:p>
                <a:pPr algn="ctr"/>
                <a:r>
                  <a:rPr lang="en-GB" sz="1800" b="0" dirty="0"/>
                  <a:t>Y = f(X) + ε</a:t>
                </a:r>
              </a:p>
              <a:p>
                <a:r>
                  <a:rPr lang="en-GB" sz="1800" b="0" dirty="0"/>
                  <a:t>With ε some random error.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Estimate a model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</m:d>
                  </m:oMath>
                </a14:m>
                <a:r>
                  <a:rPr lang="en-GB" sz="1800" b="0" dirty="0"/>
                  <a:t>.</a:t>
                </a:r>
              </a:p>
              <a:p>
                <a:r>
                  <a:rPr lang="en-GB" sz="1800" b="0" dirty="0"/>
                  <a:t>Then </a:t>
                </a:r>
                <a:endParaRPr lang="en-GB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e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  <m:t>𝑌</m:t>
                                          </m:r>
                                        </m:e>
                                      </m:acc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sub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GB" sz="1800" b="0" dirty="0"/>
              </a:p>
              <a:p>
                <a:r>
                  <a:rPr lang="en-GB" sz="1800" dirty="0"/>
                  <a:t>                                    error  =       bias</a:t>
                </a:r>
                <a:r>
                  <a:rPr lang="en-GB" sz="1800" baseline="30000" dirty="0"/>
                  <a:t>2</a:t>
                </a:r>
                <a:r>
                  <a:rPr lang="en-GB" sz="1800" dirty="0"/>
                  <a:t>     +      variance      +  irreducible error</a:t>
                </a:r>
              </a:p>
              <a:p>
                <a:endParaRPr lang="en-GB" sz="1800" b="0" dirty="0"/>
              </a:p>
              <a:p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3"/>
                <a:stretch>
                  <a:fillRect l="-1689" t="-2305" r="-1028" b="-12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900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1E8F9-DEA4-4928-8159-A860353333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35" y="892218"/>
            <a:ext cx="6888530" cy="399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18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SS as an error function for optimisation</a:t>
            </a:r>
          </a:p>
        </p:txBody>
      </p:sp>
      <p:pic>
        <p:nvPicPr>
          <p:cNvPr id="6" name="Picture 5" descr="MLW_COM_RandStatsWorkshops_Session5_files/figure-pptx/unnamed-chunk-6-1.png">
            <a:extLst>
              <a:ext uri="{FF2B5EF4-FFF2-40B4-BE49-F238E27FC236}">
                <a16:creationId xmlns:a16="http://schemas.microsoft.com/office/drawing/2014/main" id="{C2AB9D02-96FE-F241-970F-D27D3385EDD9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127735" y="946993"/>
            <a:ext cx="6898536" cy="3883072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3788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575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b="0" dirty="0"/>
              <a:t>Sum of squares is the most common error function because it leads to a  convex optimisation problem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Statisticians tend not to optimise the sum of squared errors (</a:t>
            </a:r>
            <a:r>
              <a:rPr lang="en-GB" dirty="0"/>
              <a:t>least squares</a:t>
            </a:r>
            <a:r>
              <a:rPr lang="en-GB" b="0" dirty="0"/>
              <a:t>  - LS), but rather maximise the likelihood (</a:t>
            </a:r>
            <a:r>
              <a:rPr lang="en-GB" dirty="0"/>
              <a:t>maximum likelihood</a:t>
            </a:r>
            <a:r>
              <a:rPr lang="en-GB" b="0" dirty="0"/>
              <a:t> - ML) of observing a given dataset assuming a given model. This is a more general approach, though it does make additional assumptions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For many models, ML &amp; LS are equivalent, for some they are not (e.g. non-normal errors in linear model)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In machine learning, usually </a:t>
            </a:r>
            <a:r>
              <a:rPr lang="en-GB" dirty="0"/>
              <a:t>predictive error / accuracy</a:t>
            </a:r>
            <a:r>
              <a:rPr lang="en-GB" b="0" dirty="0"/>
              <a:t> is optimised (using, e.g. cross-validation).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204227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01603"/>
          </a:xfrm>
        </p:spPr>
        <p:txBody>
          <a:bodyPr/>
          <a:lstStyle/>
          <a:p>
            <a:endParaRPr lang="en-GB" b="0" dirty="0"/>
          </a:p>
          <a:p>
            <a:r>
              <a:rPr lang="en-GB" b="0" dirty="0"/>
              <a:t>Test set performance:</a:t>
            </a:r>
          </a:p>
          <a:p>
            <a:r>
              <a:rPr lang="en-GB" b="0" dirty="0"/>
              <a:t>Consider not only how well a model fits the current dataset, but also how well it will perform on future data.</a:t>
            </a:r>
          </a:p>
          <a:p>
            <a:endParaRPr lang="en-GB" b="0" dirty="0"/>
          </a:p>
          <a:p>
            <a:r>
              <a:rPr lang="en-GB" b="0" dirty="0"/>
              <a:t>But this comes at a cost:</a:t>
            </a:r>
          </a:p>
          <a:p>
            <a:r>
              <a:rPr lang="en-GB" b="0" dirty="0"/>
              <a:t>Not all the data is used to estimate the model parameters.</a:t>
            </a:r>
          </a:p>
          <a:p>
            <a:endParaRPr lang="en-GB" b="0" dirty="0"/>
          </a:p>
          <a:p>
            <a:r>
              <a:rPr lang="en-GB" b="0" dirty="0"/>
              <a:t>What should the focus be: </a:t>
            </a:r>
            <a:r>
              <a:rPr lang="en-GB" b="0" u="sng" dirty="0"/>
              <a:t>inference or prediction</a:t>
            </a:r>
            <a:r>
              <a:rPr lang="en-GB" b="0" dirty="0"/>
              <a:t>?</a:t>
            </a:r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692127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9916175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al decision theor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</p:spPr>
            <p:txBody>
              <a:bodyPr/>
              <a:lstStyle/>
              <a:p>
                <a:r>
                  <a:rPr lang="en-GB" b="0" dirty="0"/>
                  <a:t>For classification problems with a zero-one loss function (i.e. all misclassifications equally bad), one can show that the optimal classification rule is</a:t>
                </a:r>
              </a:p>
              <a:p>
                <a:endParaRPr lang="en-GB" b="0" dirty="0"/>
              </a:p>
              <a:p>
                <a:r>
                  <a:rPr lang="en-GB" b="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</m:acc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𝑎𝑟𝑔𝑚𝑎𝑥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𝐺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endParaRPr lang="en-GB" b="0" dirty="0"/>
              </a:p>
              <a:p>
                <a:endParaRPr lang="en-GB" b="0" dirty="0"/>
              </a:p>
              <a:p>
                <a:r>
                  <a:rPr lang="en-GB" b="0" dirty="0"/>
                  <a:t>This is known as the </a:t>
                </a:r>
                <a:r>
                  <a:rPr lang="en-GB" b="0" u="sng" dirty="0"/>
                  <a:t>Bayes classifier</a:t>
                </a:r>
                <a:r>
                  <a:rPr lang="en-GB" b="0" dirty="0"/>
                  <a:t> and its error rate (the Bayes rate) is the lowest you can achieve.</a:t>
                </a:r>
              </a:p>
              <a:p>
                <a:endParaRPr lang="en-GB" b="0" dirty="0"/>
              </a:p>
              <a:p>
                <a:r>
                  <a:rPr lang="en-GB" b="0" dirty="0"/>
                  <a:t>The practical problem is how to estimate the probabilities </a:t>
                </a:r>
                <a14:m>
                  <m:oMath xmlns:m="http://schemas.openxmlformats.org/officeDocument/2006/math">
                    <m:r>
                      <a:rPr lang="en-GB" b="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b="0" dirty="0"/>
                  <a:t>.</a:t>
                </a:r>
              </a:p>
              <a:p>
                <a:endParaRPr lang="en-GB" sz="1800" b="0" dirty="0"/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  <a:blipFill>
                <a:blip r:embed="rId3"/>
                <a:stretch>
                  <a:fillRect l="-1835" t="-2113" r="-1376" b="-1408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7415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</a:t>
            </a:r>
            <a:r>
              <a:rPr lang="en-GB" u="sng" dirty="0"/>
              <a:t>overly broad</a:t>
            </a:r>
            <a:r>
              <a:rPr lang="en-GB" dirty="0"/>
              <a:t> generalisation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753541"/>
          </a:xfrm>
        </p:spPr>
        <p:txBody>
          <a:bodyPr/>
          <a:lstStyle/>
          <a:p>
            <a:r>
              <a:rPr lang="en-GB" sz="2400" dirty="0"/>
              <a:t>Statist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Focus on </a:t>
            </a:r>
            <a:r>
              <a:rPr lang="en-GB" b="0" u="sng" dirty="0"/>
              <a:t>statistical inference</a:t>
            </a:r>
            <a:r>
              <a:rPr lang="en-GB" b="0" dirty="0"/>
              <a:t> about model parameters.</a:t>
            </a:r>
          </a:p>
          <a:p>
            <a:pPr marL="732526" lvl="1" indent="-342900"/>
            <a:r>
              <a:rPr lang="en-GB" sz="1600" dirty="0"/>
              <a:t>D</a:t>
            </a:r>
            <a:r>
              <a:rPr lang="en-GB" sz="1600" b="0" dirty="0"/>
              <a:t>o these 2 groups have different mean values?</a:t>
            </a:r>
          </a:p>
          <a:p>
            <a:pPr marL="732526" lvl="1" indent="-342900"/>
            <a:r>
              <a:rPr lang="en-GB" sz="1600" dirty="0"/>
              <a:t>Is this slope coefficient different from 0?</a:t>
            </a:r>
          </a:p>
          <a:p>
            <a:pPr marL="342900" indent="-342900"/>
            <a:endParaRPr lang="en-GB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Great for small to medium large datasets (in numbers of variables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Great for interpretabilit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Makes substantial assumptions about data generating mechanism.</a:t>
            </a:r>
          </a:p>
          <a:p>
            <a:endParaRPr lang="en-GB" sz="1200" b="0" dirty="0"/>
          </a:p>
          <a:p>
            <a:endParaRPr lang="en-GB" b="0" dirty="0"/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15636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</a:t>
            </a:r>
            <a:r>
              <a:rPr lang="en-GB" u="sng" dirty="0"/>
              <a:t>overly broad</a:t>
            </a:r>
            <a:r>
              <a:rPr lang="en-GB" dirty="0"/>
              <a:t> generalisation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753541"/>
          </a:xfrm>
        </p:spPr>
        <p:txBody>
          <a:bodyPr/>
          <a:lstStyle/>
          <a:p>
            <a:r>
              <a:rPr lang="en-GB" sz="2400" dirty="0"/>
              <a:t>Machine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Focus on </a:t>
            </a:r>
            <a:r>
              <a:rPr lang="en-GB" b="0" u="sng" dirty="0"/>
              <a:t>prediction</a:t>
            </a:r>
            <a:r>
              <a:rPr lang="en-GB" b="0" dirty="0"/>
              <a:t>.</a:t>
            </a:r>
          </a:p>
          <a:p>
            <a:pPr marL="732526" lvl="1" indent="-342900"/>
            <a:r>
              <a:rPr lang="en-GB" sz="1600" dirty="0"/>
              <a:t>W</a:t>
            </a:r>
            <a:r>
              <a:rPr lang="en-GB" sz="1600" b="0" dirty="0"/>
              <a:t>hat is the most likely type of an object, given an image of it?</a:t>
            </a:r>
          </a:p>
          <a:p>
            <a:pPr marL="732526" lvl="1" indent="-342900"/>
            <a:r>
              <a:rPr lang="en-GB" sz="1600" dirty="0"/>
              <a:t>What is the most likely successful advert to display to a us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Great for large, complex datase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Great for autom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Great if little is known about data generating mechanism.</a:t>
            </a:r>
          </a:p>
          <a:p>
            <a:endParaRPr lang="en-GB" b="0" dirty="0"/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6049394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952EC4-457B-4D8F-83C9-2FBA75A7E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765" y="1754235"/>
            <a:ext cx="2204647" cy="729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29896C-6F09-41C3-AA79-3B56168015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30" y="1043262"/>
            <a:ext cx="5716932" cy="3442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5ADA11-ED42-4EAA-97E6-E7AF1BE81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8314" y="2917852"/>
            <a:ext cx="2123024" cy="87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2388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soning under uncertain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ts val="3000"/>
              </a:spcBef>
            </a:pPr>
            <a:endParaRPr lang="en-US" sz="800" dirty="0"/>
          </a:p>
          <a:p>
            <a:pPr lvl="0">
              <a:spcBef>
                <a:spcPts val="1000"/>
              </a:spcBef>
            </a:pPr>
            <a:r>
              <a:rPr lang="en-US" sz="1800" dirty="0"/>
              <a:t>PROBABILITY</a:t>
            </a:r>
          </a:p>
          <a:p>
            <a:pPr lvl="0"/>
            <a:r>
              <a:rPr lang="en-US" sz="1800" b="0" dirty="0"/>
              <a:t>To quantify uncertainty, we need to use the tools of</a:t>
            </a:r>
            <a:r>
              <a:rPr lang="en-US" sz="1800" dirty="0"/>
              <a:t> probability theory</a:t>
            </a:r>
            <a:r>
              <a:rPr lang="en-US" sz="1800" b="0" dirty="0"/>
              <a:t>.</a:t>
            </a:r>
          </a:p>
          <a:p>
            <a:pPr lvl="0">
              <a:spcBef>
                <a:spcPts val="3000"/>
              </a:spcBef>
            </a:pPr>
            <a:r>
              <a:rPr lang="en-US" sz="1800" dirty="0"/>
              <a:t>STATISTICS</a:t>
            </a:r>
          </a:p>
          <a:p>
            <a:pPr lvl="0"/>
            <a:r>
              <a:rPr lang="en-US" sz="1800" b="0" dirty="0"/>
              <a:t>To gain insights from observational data we need to make </a:t>
            </a:r>
            <a:r>
              <a:rPr lang="en-US" sz="1800" dirty="0"/>
              <a:t>statistical inference.</a:t>
            </a:r>
          </a:p>
          <a:p>
            <a:endParaRPr lang="en-GB" sz="1800" b="0" dirty="0"/>
          </a:p>
          <a:p>
            <a:r>
              <a:rPr lang="en-GB" sz="1800" dirty="0"/>
              <a:t>MACHINE LEARNING</a:t>
            </a:r>
          </a:p>
          <a:p>
            <a:r>
              <a:rPr lang="en-GB" sz="1800" b="0" dirty="0"/>
              <a:t>Use mathematical, statistical &amp; computational tools to make </a:t>
            </a:r>
            <a:r>
              <a:rPr lang="en-GB" sz="1800" dirty="0"/>
              <a:t>predictions</a:t>
            </a:r>
            <a:r>
              <a:rPr lang="en-GB" sz="1800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9069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&amp; 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part from machine learning being based on statistical principles, statistics also plays a role in:</a:t>
            </a:r>
          </a:p>
          <a:p>
            <a:endParaRPr lang="en-GB" sz="1800" b="0" dirty="0"/>
          </a:p>
          <a:p>
            <a:pPr marL="675376" lvl="1" indent="-285750"/>
            <a:r>
              <a:rPr lang="en-GB" sz="1800" b="0" dirty="0"/>
              <a:t>Preparing / cleaning data</a:t>
            </a:r>
          </a:p>
          <a:p>
            <a:pPr marL="675376" lvl="1" indent="-285750"/>
            <a:r>
              <a:rPr lang="en-GB" sz="1800" b="0" dirty="0"/>
              <a:t>Algorithm / model selection</a:t>
            </a:r>
          </a:p>
          <a:p>
            <a:pPr marL="675376" lvl="1" indent="-285750"/>
            <a:r>
              <a:rPr lang="en-GB" sz="1800" b="0" dirty="0"/>
              <a:t>Evaluating algorithm / model performance</a:t>
            </a:r>
          </a:p>
          <a:p>
            <a:pPr marL="675376" lvl="1" indent="-285750"/>
            <a:r>
              <a:rPr lang="en-GB" sz="1800" b="0" dirty="0"/>
              <a:t>Deriving properties of estimated parameters (e.g. confidence intervals)</a:t>
            </a:r>
          </a:p>
          <a:p>
            <a:pPr marL="675376" lvl="1" indent="-285750"/>
            <a:r>
              <a:rPr lang="en-GB" sz="1800" b="0" dirty="0"/>
              <a:t>…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8494285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erminology / history</a:t>
            </a:r>
          </a:p>
        </p:txBody>
      </p:sp>
    </p:spTree>
    <p:extLst>
      <p:ext uri="{BB962C8B-B14F-4D97-AF65-F5344CB8AC3E}">
        <p14:creationId xmlns:p14="http://schemas.microsoft.com/office/powerpoint/2010/main" val="35571639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66FFF-C9A8-4296-B40C-DE53895C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41109-BE6E-4606-9E26-F0CE8D2D920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endParaRPr lang="en-GB" dirty="0"/>
          </a:p>
          <a:p>
            <a:pPr algn="r"/>
            <a:r>
              <a:rPr lang="en-GB" dirty="0"/>
              <a:t>Mathematics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Computer science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Engineering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2D7CA9-442E-4A1E-9AB2-381BEB1B713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Statistics</a:t>
            </a:r>
          </a:p>
          <a:p>
            <a:endParaRPr lang="en-GB" dirty="0"/>
          </a:p>
          <a:p>
            <a:r>
              <a:rPr lang="en-GB" dirty="0"/>
              <a:t>Machine learning</a:t>
            </a:r>
          </a:p>
          <a:p>
            <a:endParaRPr lang="en-GB" dirty="0"/>
          </a:p>
          <a:p>
            <a:r>
              <a:rPr lang="en-GB" dirty="0"/>
              <a:t>Pattern recognition</a:t>
            </a:r>
          </a:p>
        </p:txBody>
      </p:sp>
    </p:spTree>
    <p:extLst>
      <p:ext uri="{BB962C8B-B14F-4D97-AF65-F5344CB8AC3E}">
        <p14:creationId xmlns:p14="http://schemas.microsoft.com/office/powerpoint/2010/main" val="29969775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E3664-0FAA-4469-A5F3-33E1538AC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valent terminology &amp;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9090B-0A1B-4ECF-911E-222BF3586E9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r>
              <a:rPr lang="en-GB" dirty="0"/>
              <a:t>Statistics </a:t>
            </a:r>
            <a:r>
              <a:rPr lang="en-GB" sz="2000" b="0" dirty="0"/>
              <a:t>  ↔</a:t>
            </a:r>
            <a:endParaRPr lang="en-GB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models    ↔</a:t>
            </a:r>
          </a:p>
          <a:p>
            <a:pPr algn="r"/>
            <a:r>
              <a:rPr lang="en-GB" sz="2000" b="0" dirty="0"/>
              <a:t>parameters   ↔</a:t>
            </a:r>
          </a:p>
          <a:p>
            <a:pPr algn="r"/>
            <a:r>
              <a:rPr lang="en-GB" sz="2000" b="0" dirty="0"/>
              <a:t>fitting / estimating   ↔</a:t>
            </a:r>
          </a:p>
          <a:p>
            <a:pPr algn="r"/>
            <a:r>
              <a:rPr lang="en-GB" sz="2000" b="0" dirty="0"/>
              <a:t>test set performance   ↔</a:t>
            </a:r>
          </a:p>
          <a:p>
            <a:pPr algn="r"/>
            <a:endParaRPr lang="en-GB" sz="2000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logistic regression   ≈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4A5441-1BDF-436D-99E8-488D2D69F6B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sz="2000" b="0" dirty="0"/>
              <a:t> </a:t>
            </a:r>
            <a:r>
              <a:rPr lang="en-GB" dirty="0"/>
              <a:t>Machine learning</a:t>
            </a:r>
          </a:p>
          <a:p>
            <a:endParaRPr lang="en-GB" sz="2000" b="0" dirty="0"/>
          </a:p>
          <a:p>
            <a:r>
              <a:rPr lang="en-GB" sz="2000" b="0" dirty="0"/>
              <a:t> networks, graphs</a:t>
            </a:r>
          </a:p>
          <a:p>
            <a:r>
              <a:rPr lang="en-GB" sz="2000" b="0" dirty="0"/>
              <a:t> weights</a:t>
            </a:r>
          </a:p>
          <a:p>
            <a:r>
              <a:rPr lang="en-GB" sz="2000" b="0" dirty="0"/>
              <a:t> learning</a:t>
            </a:r>
          </a:p>
          <a:p>
            <a:r>
              <a:rPr lang="en-GB" sz="2000" b="0" dirty="0"/>
              <a:t> generalisation</a:t>
            </a:r>
          </a:p>
          <a:p>
            <a:endParaRPr lang="en-GB" sz="2000" b="0" dirty="0"/>
          </a:p>
          <a:p>
            <a:endParaRPr lang="en-GB" sz="2000" b="0" dirty="0"/>
          </a:p>
          <a:p>
            <a:r>
              <a:rPr lang="en-GB" sz="2000" b="0" dirty="0"/>
              <a:t> perceptron</a:t>
            </a:r>
          </a:p>
        </p:txBody>
      </p:sp>
    </p:spTree>
    <p:extLst>
      <p:ext uri="{BB962C8B-B14F-4D97-AF65-F5344CB8AC3E}">
        <p14:creationId xmlns:p14="http://schemas.microsoft.com/office/powerpoint/2010/main" val="28544757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12 key (statistical) techniques for data scientists</a:t>
            </a:r>
          </a:p>
        </p:txBody>
      </p:sp>
    </p:spTree>
    <p:extLst>
      <p:ext uri="{BB962C8B-B14F-4D97-AF65-F5344CB8AC3E}">
        <p14:creationId xmlns:p14="http://schemas.microsoft.com/office/powerpoint/2010/main" val="3839001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Lead the Statistical Support Unit at ML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Raised in Luxembour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MSc in Mathemat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hD in statistical pattern recognition for digital sky surve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ost-docs in genetic epidemiology &amp; multi-scale modelling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355731B-A585-4988-BFF6-842534CF992F}"/>
              </a:ext>
            </a:extLst>
          </p:cNvPr>
          <p:cNvGrpSpPr/>
          <p:nvPr/>
        </p:nvGrpSpPr>
        <p:grpSpPr>
          <a:xfrm>
            <a:off x="0" y="982835"/>
            <a:ext cx="9144000" cy="3819970"/>
            <a:chOff x="0" y="882359"/>
            <a:chExt cx="9144000" cy="38199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8E1EBA3-A90E-4F5D-A097-228A9E767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82359"/>
              <a:ext cx="9144000" cy="381997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28CD828-B60F-4E29-80B2-81D88789B324}"/>
                </a:ext>
              </a:extLst>
            </p:cNvPr>
            <p:cNvGrpSpPr/>
            <p:nvPr/>
          </p:nvGrpSpPr>
          <p:grpSpPr>
            <a:xfrm>
              <a:off x="4884650" y="1177934"/>
              <a:ext cx="1702234" cy="529952"/>
              <a:chOff x="4884650" y="1177934"/>
              <a:chExt cx="1702234" cy="529952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91834914-4446-4B41-BC70-EF1D59B4F3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84650" y="1459900"/>
                <a:ext cx="752038" cy="2479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4577109-4C6B-48C3-BF3C-C8B4D9CB5B6E}"/>
                  </a:ext>
                </a:extLst>
              </p:cNvPr>
              <p:cNvSpPr txBox="1"/>
              <p:nvPr/>
            </p:nvSpPr>
            <p:spPr>
              <a:xfrm>
                <a:off x="5550826" y="1177934"/>
                <a:ext cx="10360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pPr algn="ctr"/>
                <a:r>
                  <a:rPr lang="en-GB" sz="1000" b="1" dirty="0">
                    <a:solidFill>
                      <a:srgbClr val="79C900"/>
                    </a:solidFill>
                  </a:rPr>
                  <a:t>Raised in Luxembourg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759E03D-B352-4188-BEE0-5C89536B0959}"/>
                </a:ext>
              </a:extLst>
            </p:cNvPr>
            <p:cNvGrpSpPr/>
            <p:nvPr/>
          </p:nvGrpSpPr>
          <p:grpSpPr>
            <a:xfrm>
              <a:off x="2387435" y="2009416"/>
              <a:ext cx="1278572" cy="2272266"/>
              <a:chOff x="2387435" y="2009416"/>
              <a:chExt cx="1278572" cy="2272266"/>
            </a:xfrm>
          </p:grpSpPr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E2371A81-D68D-4178-B384-444C2ACDCB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684333" y="2009416"/>
                <a:ext cx="82414" cy="1067640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9A16585-C480-4A1D-B177-282DA35AF16D}"/>
                  </a:ext>
                </a:extLst>
              </p:cNvPr>
              <p:cNvSpPr txBox="1"/>
              <p:nvPr/>
            </p:nvSpPr>
            <p:spPr>
              <a:xfrm>
                <a:off x="2387435" y="3034279"/>
                <a:ext cx="1278572" cy="335646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MSSM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315AF2D6-C28C-495B-BF9E-C8B3EF609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73887" y="3305560"/>
                <a:ext cx="728476" cy="97612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5A22FA3-EB06-4FDB-8ABD-580D44BA6734}"/>
                </a:ext>
              </a:extLst>
            </p:cNvPr>
            <p:cNvGrpSpPr/>
            <p:nvPr/>
          </p:nvGrpSpPr>
          <p:grpSpPr>
            <a:xfrm>
              <a:off x="3388270" y="1683596"/>
              <a:ext cx="3353958" cy="1564282"/>
              <a:chOff x="3388270" y="1683596"/>
              <a:chExt cx="3353958" cy="1564282"/>
            </a:xfrm>
          </p:grpSpPr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48F1517A-9812-45C6-806E-C4F8259973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40309" y="1683596"/>
                <a:ext cx="376749" cy="6396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6718DB3A-ED6F-4968-9ACF-998BEF7F7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28683" y="1835996"/>
                <a:ext cx="340775" cy="167443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518AF4F-494B-419A-929A-1AE29256ED07}"/>
                  </a:ext>
                </a:extLst>
              </p:cNvPr>
              <p:cNvSpPr txBox="1"/>
              <p:nvPr/>
            </p:nvSpPr>
            <p:spPr>
              <a:xfrm>
                <a:off x="3388270" y="2295480"/>
                <a:ext cx="33539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 err="1">
                    <a:solidFill>
                      <a:srgbClr val="79C900"/>
                    </a:solidFill>
                  </a:rPr>
                  <a:t>MSci</a:t>
                </a:r>
                <a:r>
                  <a:rPr lang="en-GB" sz="1000" b="1" dirty="0">
                    <a:solidFill>
                      <a:srgbClr val="79C900"/>
                    </a:solidFill>
                  </a:rPr>
                  <a:t>, PhD @ Imperial College London &amp; ENS Lyon</a:t>
                </a:r>
              </a:p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ICR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3A60D392-F45F-45EB-BC46-F919363D2F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428341" y="2559542"/>
                <a:ext cx="1208347" cy="333278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81BFF44A-D416-4BA9-A8CB-F961090CDA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04167" y="2547905"/>
                <a:ext cx="673781" cy="473251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D5ED3712-7491-494E-B345-13E836597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4080" y="2959031"/>
                <a:ext cx="1323648" cy="288847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DFDDB76-6734-4DFB-BB3C-BC540ED96EA4}"/>
                </a:ext>
              </a:extLst>
            </p:cNvPr>
            <p:cNvGrpSpPr/>
            <p:nvPr/>
          </p:nvGrpSpPr>
          <p:grpSpPr>
            <a:xfrm>
              <a:off x="5483936" y="3232812"/>
              <a:ext cx="2867323" cy="638766"/>
              <a:chOff x="5483936" y="3232812"/>
              <a:chExt cx="2867323" cy="638766"/>
            </a:xfrm>
          </p:grpSpPr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FF2074C6-8FA7-4B8E-A3DF-1F6EE6DBD0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721215" y="3477579"/>
                <a:ext cx="675661" cy="22478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C43A3-312B-47FB-99D8-EABA6B8AB95F}"/>
                  </a:ext>
                </a:extLst>
              </p:cNvPr>
              <p:cNvSpPr txBox="1"/>
              <p:nvPr/>
            </p:nvSpPr>
            <p:spPr>
              <a:xfrm>
                <a:off x="6331747" y="3232812"/>
                <a:ext cx="151091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Lead Statistical Support Unit @ MLW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447D410-E483-4CFF-A5D1-3342CAFC9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83936" y="3653254"/>
                <a:ext cx="2867323" cy="218324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A2FE9B2-2FD5-424E-A0F8-0E29B5C95C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4463" y="3974306"/>
            <a:ext cx="1384842" cy="11647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C5D6D4-3FBA-4154-8DE9-11DDA07B28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936" y="3978792"/>
            <a:ext cx="404448" cy="25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4804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plines &amp; GA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Regularisation: lasso, ridge, elastic ne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imple classification / clustering: k-nearest neighbour, k-mean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Kernel density estimation &amp; classification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Mixture models &amp; the EM algorith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LDA, QDA, RDA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Decision trees &amp; random fores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Neural networks &amp; deep learning</a:t>
            </a:r>
            <a:endParaRPr lang="en-GB" sz="1800" b="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raphical model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PCA &amp; factor analysi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Bootstrap &amp; resampling techniques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890145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62" y="1590884"/>
            <a:ext cx="9109076" cy="302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2706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532" y="1593567"/>
            <a:ext cx="9092936" cy="302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013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800" b="0" dirty="0"/>
                  <a:t>GLM: linear, log-linear, logistic, Poisson, …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linear model (GLM)</a:t>
                </a:r>
              </a:p>
              <a:p>
                <a:pPr lvl="0"/>
                <a:r>
                  <a:rPr lang="en-GB" sz="1800" b="0" dirty="0"/>
                  <a:t>	   – includes logistic regression, Poisson regression, …</a:t>
                </a:r>
              </a:p>
              <a:p>
                <a:pPr lvl="0"/>
                <a:r>
                  <a:rPr lang="en-GB" sz="1800" b="0" dirty="0"/>
                  <a:t> </a:t>
                </a:r>
                <a:endParaRPr lang="ar-AE" sz="1800" b="0" dirty="0"/>
              </a:p>
              <a:p>
                <a:pPr algn="ctr">
                  <a:spcBef>
                    <a:spcPts val="0"/>
                  </a:spcBef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62022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E4BDA-B637-524F-BB91-735825114D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06312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7861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2"/>
                </a:pPr>
                <a:r>
                  <a:rPr lang="en-GB" sz="1800" b="0" dirty="0"/>
                  <a:t>Splines &amp; GAM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spline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/>
                <a:r>
                  <a:rPr lang="en-GB" sz="1800" b="0" dirty="0"/>
                  <a:t>                          where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en-GB" sz="18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𝑖𝑓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&gt;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</m:mr>
                              </m:m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𝑜𝑡h𝑒𝑟𝑤𝑖𝑠𝑒</m:t>
                                    </m:r>
                                  </m:e>
                                </m:mr>
                              </m:m>
                            </m:e>
                          </m:mr>
                        </m:m>
                      </m:e>
                    </m:d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additive model (GAM)</a:t>
                </a:r>
              </a:p>
              <a:p>
                <a:pPr lvl="0"/>
                <a:endParaRPr lang="ar-AE" sz="800" b="0" dirty="0"/>
              </a:p>
              <a:p>
                <a:pPr algn="ctr">
                  <a:spcBef>
                    <a:spcPts val="0"/>
                  </a:spcBef>
                </a:pPr>
                <a:r>
                  <a:rPr lang="en-GB" sz="1800" b="0" dirty="0"/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d>
                      <m:d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d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98920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86EE3E-CF39-B34C-B185-92BE98585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1673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0707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3F3081-C133-E448-BF7C-CF84645BC2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9944" y="1548384"/>
            <a:ext cx="4841532" cy="32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5997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3"/>
                </a:pPr>
                <a:r>
                  <a:rPr lang="en-GB" sz="1800" b="0" dirty="0"/>
                  <a:t>Regularisation / penalisation / shrinkage: ridge, lasso, elastic net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GLM – but with additional parameter constraints to shrink parameters. 	This controls variability and helps with variable selec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Ridge regression</a:t>
                </a:r>
                <a:r>
                  <a:rPr lang="en-GB" sz="1800" b="0" dirty="0"/>
                  <a:t> – L</a:t>
                </a:r>
                <a:r>
                  <a:rPr lang="en-GB" sz="1800" b="0" baseline="-25000" dirty="0"/>
                  <a:t>2</a:t>
                </a:r>
                <a:r>
                  <a:rPr lang="en-GB" sz="1800" b="0" dirty="0"/>
                  <a:t> norm: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oefficients are shrunk, but kept in the model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Lasso regression</a:t>
                </a:r>
                <a:r>
                  <a:rPr lang="en-GB" sz="1800" dirty="0"/>
                  <a:t> – L</a:t>
                </a:r>
                <a:r>
                  <a:rPr lang="en-GB" sz="1800" baseline="-25000" dirty="0"/>
                  <a:t>1</a:t>
                </a:r>
                <a:r>
                  <a:rPr lang="en-GB" sz="1800" dirty="0"/>
                  <a:t> norm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begChr m:val="|"/>
                            <m:endChr m:val="|"/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dirty="0"/>
                  <a:t>Coefficients are shrunk, some to exactly 0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Elastic net</a:t>
                </a:r>
                <a:r>
                  <a:rPr lang="en-GB" sz="1800" dirty="0"/>
                  <a:t> – a compromise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  <m:sSubSup>
                              <m:sSubSup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d>
                            <m:d>
                              <m:dPr>
                                <m:begChr m:val="|"/>
                                <m:endChr m:val="|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 b="-157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926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3"/>
            </a:pPr>
            <a:r>
              <a:rPr lang="en-GB" sz="1800" b="0" dirty="0"/>
              <a:t>Regularisation / penalisation / shrinkage: ridge, lasso, elastic ne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68E2D-CE8C-42B7-9DE7-45F612245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2232" y="1498728"/>
            <a:ext cx="5519535" cy="360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87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Artificial intelligence, machine learning, data mining</a:t>
            </a:r>
          </a:p>
        </p:txBody>
      </p:sp>
    </p:spTree>
    <p:extLst>
      <p:ext uri="{BB962C8B-B14F-4D97-AF65-F5344CB8AC3E}">
        <p14:creationId xmlns:p14="http://schemas.microsoft.com/office/powerpoint/2010/main" val="14346589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r>
                  <a:rPr lang="en-GB" sz="1800" b="0" dirty="0"/>
                  <a:t>Simple classification / clustering</a:t>
                </a:r>
                <a:r>
                  <a:rPr lang="en-GB" sz="1800" dirty="0"/>
                  <a:t>: k-nearest neighbour, k-means, …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These are prototype, memory-based, model-free methods.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 err="1"/>
                  <a:t>kNN</a:t>
                </a:r>
                <a:endParaRPr lang="en-GB" sz="1800" u="sng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sign to majority class among k nearest data points in the training set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an also be used for regression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  <m:sup/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091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340895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4D422A-BBA5-D241-BBE8-E92BF4F105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907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958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r>
              <a:rPr lang="en-GB" sz="1800" u="sng" dirty="0"/>
              <a:t>k-means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Start with a random set of initial cluster centroid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Assign samples to nearest centroid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Recompute centroids for each cluster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Iterate until conver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3768666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E19DE0-4563-4AE3-8C57-EFE31F619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5170" y="1471684"/>
            <a:ext cx="5513659" cy="365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1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r>
                  <a:rPr lang="en-GB" sz="1800" b="0" dirty="0"/>
                  <a:t>Kernel density estimation &amp; classification</a:t>
                </a: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Kernel density estimation</a:t>
                </a:r>
                <a:r>
                  <a:rPr lang="en-GB" sz="1800" dirty="0"/>
                  <a:t> – drop a probability kernel at each observation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bar>
                                  <m:bar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For classification, estimate densities for each class, then use Bayes’ Rule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</m:e>
                        </m:d>
                      </m:num>
                      <m:den>
                        <m:nary>
                          <m:naryPr>
                            <m:chr m:val="∑"/>
                            <m:supHide m:val="on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bar>
                                  <m:bar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</m:d>
                          </m:e>
                        </m:nary>
                      </m:den>
                    </m:f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(Note: only need to estimate densities well near the decision boundary)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Naïve Bayes</a:t>
                </a:r>
                <a:r>
                  <a:rPr lang="en-GB" sz="1800" b="0" dirty="0"/>
                  <a:t> – useful in high-dimensional problems:</a:t>
                </a:r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∏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sup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𝑚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1876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476550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r>
              <a:rPr lang="en-GB" sz="1800" b="0" dirty="0"/>
              <a:t>Kernel density estimation &amp; classification</a:t>
            </a:r>
            <a:endParaRPr lang="en-GB" sz="180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8E0222-7367-4011-89AB-35C65BF71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3130" y="1463259"/>
            <a:ext cx="5528228" cy="367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0597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6"/>
                </a:pPr>
                <a:r>
                  <a:rPr lang="en-GB" sz="1800" b="0" dirty="0"/>
                  <a:t>Mixture models &amp; the EM algorithm</a:t>
                </a: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Model-based classification &amp; clustering can be framed more generally: 	</a:t>
                </a:r>
                <a:r>
                  <a:rPr lang="en-GB" sz="1800" u="sng" dirty="0"/>
                  <a:t>mixture models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sSub>
                          <m:sSubPr>
                            <m:ctrlPr>
                              <a:rPr lang="en-GB" sz="18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bar>
                              <m:bar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clustering problems, where we have no data with known class labels, the 	optimisation problem becomes quite hard. The </a:t>
                </a:r>
                <a:r>
                  <a:rPr lang="en-GB" sz="1800" u="sng" dirty="0"/>
                  <a:t>expectation-maximisation</a:t>
                </a:r>
                <a:r>
                  <a:rPr lang="en-GB" sz="1800" dirty="0"/>
                  <a:t> 	</a:t>
                </a:r>
                <a:r>
                  <a:rPr lang="en-GB" sz="1800" u="sng" dirty="0"/>
                  <a:t>(EM)</a:t>
                </a:r>
                <a:r>
                  <a:rPr lang="en-GB" sz="1800" dirty="0"/>
                  <a:t> is a solu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Start with initial parameters values, then iterate until convergence: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i="1" dirty="0"/>
                  <a:t>Expectation step</a:t>
                </a:r>
                <a:r>
                  <a:rPr lang="en-GB" sz="1600" dirty="0"/>
                  <a:t>: Do a soft assignment of observations to classes.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b="0" i="1" dirty="0"/>
                  <a:t>Maximisation step</a:t>
                </a:r>
                <a:r>
                  <a:rPr lang="en-GB" sz="1600" b="0" dirty="0"/>
                  <a:t>: Optimise the weighted likelihoods for each clas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r="-122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299151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7"/>
                </a:pPr>
                <a:r>
                  <a:rPr lang="en-GB" sz="1800" b="0" dirty="0"/>
                  <a:t>LDA, QDA, RDA</a:t>
                </a:r>
                <a:endParaRPr lang="en-GB" sz="16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 for kernel density estimation, classification is based on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𝑗</m:t>
                          </m:r>
                        </m:e>
                        <m:e>
                          <m:bar>
                            <m:bar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barPr>
                            <m:e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bar>
                        </m:e>
                      </m:d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d>
                            <m:d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bar>
                                <m:bar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bar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bar>
                            </m:e>
                          </m:d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bar>
                                    <m:barPr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ba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Bu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sz="1800" b="0" dirty="0"/>
                  <a:t> are assumed to be normal distributions of which we estimate 	the parameter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a two-class problem, it is enough to consider the log-ratio of the 	posterior class probabilities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DA</a:t>
                </a:r>
                <a:r>
                  <a:rPr lang="en-GB" sz="1800" b="0" dirty="0"/>
                  <a:t>: assume equal covariance matrix for all classes – solution linear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QDA</a:t>
                </a:r>
                <a:r>
                  <a:rPr lang="en-GB" sz="1800" dirty="0"/>
                  <a:t>: unequal covariance matrices – solution quadratic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RDA</a:t>
                </a:r>
                <a:r>
                  <a:rPr lang="en-GB" sz="1800" dirty="0"/>
                  <a:t>: shrink QDA covariances to a common covariance matrix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35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79223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7"/>
            </a:pPr>
            <a:r>
              <a:rPr lang="en-GB" sz="1800" b="0" dirty="0"/>
              <a:t>LDA, QDA, RDA</a:t>
            </a:r>
            <a:endParaRPr lang="en-GB" sz="16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529-B090-2B41-A397-D3C6AA8188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21" y="1744865"/>
            <a:ext cx="9115157" cy="303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545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im to partition the feature space into sub-regions, with a simple model in each region: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Average value of response variable in region R</a:t>
            </a:r>
            <a:r>
              <a:rPr lang="en-GB" sz="1700" baseline="-25000" dirty="0"/>
              <a:t>m</a:t>
            </a:r>
            <a:r>
              <a:rPr lang="en-GB" sz="1700" dirty="0"/>
              <a:t>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ajority class in region R</a:t>
            </a:r>
            <a:r>
              <a:rPr lang="en-GB" sz="1700" b="0" baseline="-25000" dirty="0"/>
              <a:t>m</a:t>
            </a:r>
            <a:r>
              <a:rPr lang="en-GB" sz="1700" b="0" dirty="0"/>
              <a:t>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At each step the algorithm select</a:t>
            </a:r>
            <a:r>
              <a:rPr lang="en-GB" sz="1800" dirty="0"/>
              <a:t>s a variable and a split on that variable that minimizes a node impurity function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Squared error node impurity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isclassification rate / Gini coefficient / devi</a:t>
            </a:r>
            <a:r>
              <a:rPr lang="en-GB" sz="1700" dirty="0"/>
              <a:t>ance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o avoid overfitting a cost-complexity function is optimised that penalises large trees.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082744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general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represent the human mind and perform any human intellectual task.</a:t>
            </a:r>
          </a:p>
          <a:p>
            <a:pPr marL="457200" indent="-457200">
              <a:buFont typeface="+mj-lt"/>
              <a:buAutoNum type="arabicPeriod"/>
            </a:pPr>
            <a:endParaRPr lang="en-GB" b="0" dirty="0"/>
          </a:p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narrow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perform a single or a few well-defined intellectual tasks extremely well.</a:t>
            </a:r>
          </a:p>
        </p:txBody>
      </p:sp>
    </p:spTree>
    <p:extLst>
      <p:ext uri="{BB962C8B-B14F-4D97-AF65-F5344CB8AC3E}">
        <p14:creationId xmlns:p14="http://schemas.microsoft.com/office/powerpoint/2010/main" val="23928987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017416-8425-674F-8913-82B9096B9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2410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6208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re highly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Interpretable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Unstable (high variance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u="sng" dirty="0"/>
              <a:t>Random forest</a:t>
            </a:r>
            <a:r>
              <a:rPr lang="en-GB" sz="1800" b="0" dirty="0"/>
              <a:t> tries to overcome the latter at the cost of the former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Draw B bootstrap samples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b="0" dirty="0"/>
              <a:t>Grow a tree for each bootstrapped dataset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dirty="0"/>
              <a:t>Randomly select m out of p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Pick best variable &amp; split among the m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Split the node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Predict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b="0" dirty="0"/>
              <a:t>Regression: average predicted value among the B trees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dirty="0"/>
              <a:t>Classification: majority vote among the B trees</a:t>
            </a:r>
            <a:endParaRPr lang="en-GB" sz="14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9400525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13B8A2-0D8C-804B-A0F3-1BDDBB7E78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784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8004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4012200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veloped independently in the fields of statistics</a:t>
            </a:r>
            <a:br>
              <a:rPr lang="en-GB" sz="1800" b="0" dirty="0"/>
            </a:br>
            <a:r>
              <a:rPr lang="en-GB" sz="1800" b="0" dirty="0"/>
              <a:t>(projection pursuit) and artificial intelli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e basic idea is: form non-linear functions of linear combination of non-linear functions of linear combinations of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is results in a </a:t>
            </a:r>
            <a:r>
              <a:rPr lang="en-GB" sz="1800" b="1" dirty="0"/>
              <a:t>universal approximator</a:t>
            </a:r>
            <a:r>
              <a:rPr lang="en-GB" sz="1800" b="0" dirty="0"/>
              <a:t>: for large enough numbers of nodes in the model, any continuous function can be approximated arbitrarily well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Large class of models (focus here is on the </a:t>
            </a:r>
            <a:r>
              <a:rPr lang="en-GB" sz="1800" b="0" u="sng" dirty="0"/>
              <a:t>multilayer perceptron</a:t>
            </a:r>
            <a:r>
              <a:rPr lang="en-GB" sz="1800" b="0" dirty="0"/>
              <a:t> - MLP), though for ML applications, convolutional neural networks are the standard now.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E1A777-3F37-434B-9BB2-46BC6F9BE6DC}"/>
              </a:ext>
            </a:extLst>
          </p:cNvPr>
          <p:cNvGrpSpPr/>
          <p:nvPr/>
        </p:nvGrpSpPr>
        <p:grpSpPr>
          <a:xfrm>
            <a:off x="6305434" y="1172590"/>
            <a:ext cx="2536382" cy="1550987"/>
            <a:chOff x="6698768" y="1277608"/>
            <a:chExt cx="1989703" cy="121225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810249C-F286-469D-9EF0-AB2D11376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5B9272-73B9-4992-874F-9B6A05CC0031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1EF666C-B639-4B16-8108-83B57B83799E}"/>
              </a:ext>
            </a:extLst>
          </p:cNvPr>
          <p:cNvGrpSpPr/>
          <p:nvPr/>
        </p:nvGrpSpPr>
        <p:grpSpPr>
          <a:xfrm>
            <a:off x="6000505" y="298250"/>
            <a:ext cx="2202839" cy="874339"/>
            <a:chOff x="5275866" y="1517135"/>
            <a:chExt cx="1989703" cy="72793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97679C-9765-4AEA-9D96-6BF1F1C9A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7E17BD0-5343-4FBF-A812-3FF73031B84C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465096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48072F-9BDD-2044-B74F-EC70C51A35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66" y="1747954"/>
            <a:ext cx="9105868" cy="302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8293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0"/>
            </a:pPr>
            <a:r>
              <a:rPr lang="en-GB" sz="1800" b="0" dirty="0"/>
              <a:t>Graphical models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A large class of models, that uses graphs (and graph theory) to represent the joint distribution of sets of random variables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2 broad familie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Bayesian networks (directed acyclic graphs)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Markov graphs (undirected graphs)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2991893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u="sng" dirty="0"/>
              <a:t>Principle component analysis</a:t>
            </a:r>
            <a:r>
              <a:rPr lang="en-GB" sz="1800" dirty="0"/>
              <a:t> is a dimensionality reduction techniqu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n a set with p correlated variables, it computed a set of p </a:t>
            </a:r>
            <a:r>
              <a:rPr lang="en-GB" sz="1800" b="1" dirty="0"/>
              <a:t>linearly</a:t>
            </a:r>
            <a:r>
              <a:rPr lang="en-GB" sz="1800" dirty="0"/>
              <a:t> uncorrelated variables, ordered by decreasing amounts of varia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Often used to obtain a lower-dimensional representation of the data, that discards nois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e principal components are just linear combinations of the original variables (though always centre &amp; scale first). The weights / loadings of these linear combinations are often use to describe what the PCs represent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f this is the main aim, then factor analysis (e.g. not limited to orthogonal combinations) is likely more appropriate.</a:t>
            </a:r>
            <a:endParaRPr lang="en-GB" sz="17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12379213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88C1F7-59FC-1148-BF8B-8A0DC9DE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1885"/>
            <a:ext cx="9144000" cy="303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5157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r>
              <a:rPr lang="en-GB" sz="1800" b="0" dirty="0"/>
              <a:t>Bootstrap &amp; resampling technique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is is a set of techniques to use the data itself, to do (usually) one of 3 thing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Estimate precision of estimated parameter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 (draw a new set of same size from the data with replacement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 err="1"/>
              <a:t>Jackknife</a:t>
            </a:r>
            <a:r>
              <a:rPr lang="en-GB" sz="1600" dirty="0"/>
              <a:t> (systematic subsets of size n-1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Perform statistical tests via permutation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Permutation tests (permute label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Assess model performance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Cross-validation, leave-one-out (draw random subset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2777063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/>
              <a:t>Many, many more!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522708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Machine learning</a:t>
            </a:r>
            <a:br>
              <a:rPr lang="en-GB" b="0" u="sng" dirty="0"/>
            </a:br>
            <a:r>
              <a:rPr lang="en-GB" b="0" dirty="0"/>
              <a:t>Often used interchangeably with AI (technically a sub-discipline).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Expert systems</a:t>
            </a:r>
            <a:br>
              <a:rPr lang="en-GB" b="0" u="sng" dirty="0"/>
            </a:br>
            <a:r>
              <a:rPr lang="en-GB" b="0" dirty="0"/>
              <a:t>Requires (</a:t>
            </a:r>
            <a:r>
              <a:rPr lang="en-GB" b="0" dirty="0" err="1"/>
              <a:t>i</a:t>
            </a:r>
            <a:r>
              <a:rPr lang="en-GB" b="0" dirty="0"/>
              <a:t>) knowledge base and (ii) reasoning engine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Natural language processing</a:t>
            </a:r>
          </a:p>
          <a:p>
            <a:endParaRPr lang="en-GB" sz="1800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Automated planning &amp; scheduling</a:t>
            </a:r>
          </a:p>
          <a:p>
            <a:endParaRPr lang="en-GB" sz="1800" b="0" u="sn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350504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Machine learning tools for statisticians</a:t>
            </a:r>
          </a:p>
        </p:txBody>
      </p:sp>
    </p:spTree>
    <p:extLst>
      <p:ext uri="{BB962C8B-B14F-4D97-AF65-F5344CB8AC3E}">
        <p14:creationId xmlns:p14="http://schemas.microsoft.com/office/powerpoint/2010/main" val="9050895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 </a:t>
            </a:r>
          </a:p>
          <a:p>
            <a:pPr marL="675376" lvl="1" indent="-285750"/>
            <a:r>
              <a:rPr lang="en-GB" sz="1600" dirty="0">
                <a:hlinkClick r:id="rId3"/>
              </a:rPr>
              <a:t>https://cran.r-project.org/</a:t>
            </a: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Python + NumPy, SciPy, sci-kit learn…</a:t>
            </a:r>
          </a:p>
          <a:p>
            <a:pPr marL="675376" lvl="1" indent="-285750"/>
            <a:r>
              <a:rPr lang="en-GB" sz="1600" dirty="0">
                <a:hlinkClick r:id="rId4"/>
              </a:rPr>
              <a:t>https://www.python.org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WEKA (multiple interfaces)</a:t>
            </a:r>
          </a:p>
          <a:p>
            <a:pPr marL="675376" lvl="1" indent="-285750"/>
            <a:r>
              <a:rPr lang="en-GB" sz="1600" dirty="0">
                <a:hlinkClick r:id="rId5"/>
              </a:rPr>
              <a:t>https://www.cs.waikato.ac.nz/ml/weka/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aret (R only)</a:t>
            </a:r>
          </a:p>
          <a:p>
            <a:pPr marL="675376" lvl="1" indent="-285750"/>
            <a:r>
              <a:rPr lang="en-GB" sz="1600" dirty="0">
                <a:hlinkClick r:id="rId6"/>
              </a:rPr>
              <a:t>https://topepo.github.io/caret/index.html</a:t>
            </a:r>
            <a:endParaRPr lang="en-GB" sz="1600" dirty="0"/>
          </a:p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4198130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E9EE92-CC29-4C73-9C55-F2407D8D9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968" y="1312934"/>
            <a:ext cx="2055090" cy="30792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C517A1-4878-40A4-9C9F-D5DE49DBF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423" y="1312935"/>
            <a:ext cx="2273579" cy="307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46172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67505589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5060363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Shift in research model</a:t>
            </a:r>
          </a:p>
        </p:txBody>
      </p:sp>
    </p:spTree>
    <p:extLst>
      <p:ext uri="{BB962C8B-B14F-4D97-AF65-F5344CB8AC3E}">
        <p14:creationId xmlns:p14="http://schemas.microsoft.com/office/powerpoint/2010/main" val="199990124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374794"/>
            <a:ext cx="7781314" cy="623700"/>
          </a:xfrm>
        </p:spPr>
        <p:txBody>
          <a:bodyPr/>
          <a:lstStyle/>
          <a:p>
            <a:r>
              <a:rPr lang="en-GB" dirty="0"/>
              <a:t>Multi-scale research &amp; new research</a:t>
            </a:r>
            <a:br>
              <a:rPr lang="en-GB" dirty="0"/>
            </a:br>
            <a:r>
              <a:rPr lang="en-GB" dirty="0"/>
              <a:t>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264769" cy="34425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3ECCBE-8B2A-4D8D-91E9-918DEBEC3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2046" y="95389"/>
            <a:ext cx="2851954" cy="50481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DA8C7DD-2945-498D-8DA7-5663B1864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76" y="2373799"/>
            <a:ext cx="6202970" cy="21631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AF0CFE-2679-4CAD-B5CB-22972C8B6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4800" y="2088049"/>
            <a:ext cx="3352800" cy="285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01B726-D573-429B-B02C-0540D21FC5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7600" y="1296762"/>
            <a:ext cx="754446" cy="107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2966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 &amp; ML in medic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dirty="0"/>
              <a:t>Medical research</a:t>
            </a:r>
            <a:br>
              <a:rPr lang="en-GB" b="0" dirty="0"/>
            </a:br>
            <a:r>
              <a:rPr lang="en-GB" sz="1600" b="0" dirty="0"/>
              <a:t>Use ML to understand biological processes or test hypotheses.</a:t>
            </a:r>
            <a:endParaRPr lang="en-GB" b="0" dirty="0"/>
          </a:p>
          <a:p>
            <a:pPr marL="1236452" lvl="2" indent="-457200"/>
            <a:r>
              <a:rPr lang="en-GB" dirty="0"/>
              <a:t>Gene network reconstruction</a:t>
            </a:r>
          </a:p>
          <a:p>
            <a:pPr marL="1236452" lvl="2" indent="-457200"/>
            <a:r>
              <a:rPr lang="en-GB" b="0" dirty="0"/>
              <a:t>Drug target discovery, development, trials (e.g. REMAP designs)</a:t>
            </a:r>
          </a:p>
          <a:p>
            <a:pPr marL="1236452" lvl="2" indent="-457200"/>
            <a:r>
              <a:rPr lang="en-GB" dirty="0"/>
              <a:t>…</a:t>
            </a:r>
            <a:endParaRPr lang="en-GB" sz="1800" b="0" dirty="0"/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Clinical practice</a:t>
            </a:r>
            <a:br>
              <a:rPr lang="en-GB" b="0" dirty="0"/>
            </a:br>
            <a:r>
              <a:rPr lang="en-GB" sz="1600" b="0" dirty="0"/>
              <a:t>Use AI to aid with clinical decision making or fine-tuning treatment.</a:t>
            </a:r>
          </a:p>
          <a:p>
            <a:pPr marL="1236452" lvl="2" indent="-457200"/>
            <a:r>
              <a:rPr lang="en-GB" dirty="0"/>
              <a:t>Personalised medicine</a:t>
            </a:r>
          </a:p>
          <a:p>
            <a:pPr marL="1236452" lvl="2" indent="-457200"/>
            <a:r>
              <a:rPr lang="en-GB" dirty="0"/>
              <a:t>Expert systems</a:t>
            </a:r>
          </a:p>
          <a:p>
            <a:pPr marL="1236452" lvl="2" indent="-457200"/>
            <a:r>
              <a:rPr lang="en-GB" dirty="0"/>
              <a:t>Image processing</a:t>
            </a:r>
          </a:p>
          <a:p>
            <a:pPr marL="1236452" lvl="2" indent="-457200"/>
            <a:r>
              <a:rPr lang="en-GB" sz="1400" b="0" dirty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Health system management</a:t>
            </a:r>
          </a:p>
        </p:txBody>
      </p:sp>
    </p:spTree>
    <p:extLst>
      <p:ext uri="{BB962C8B-B14F-4D97-AF65-F5344CB8AC3E}">
        <p14:creationId xmlns:p14="http://schemas.microsoft.com/office/powerpoint/2010/main" val="364256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Given a set of training data vectors {</a:t>
            </a:r>
            <a:r>
              <a:rPr lang="en-GB" sz="1800" dirty="0"/>
              <a:t>x</a:t>
            </a:r>
            <a:r>
              <a:rPr lang="en-GB" sz="1800" baseline="-25000" dirty="0"/>
              <a:t>1</a:t>
            </a:r>
            <a:r>
              <a:rPr lang="en-GB" sz="1800" b="0" dirty="0"/>
              <a:t>, ..., </a:t>
            </a:r>
            <a:r>
              <a:rPr lang="en-GB" sz="1800" dirty="0" err="1"/>
              <a:t>x</a:t>
            </a:r>
            <a:r>
              <a:rPr lang="en-GB" sz="1800" baseline="-25000" dirty="0" err="1"/>
              <a:t>n</a:t>
            </a:r>
            <a:r>
              <a:rPr lang="en-GB" sz="1800" b="0" dirty="0"/>
              <a:t>}, learn / tune / estimate a certain parameter of an adaptive model </a:t>
            </a:r>
            <a:r>
              <a:rPr lang="en-GB" sz="1800" b="0" dirty="0">
                <a:latin typeface="Lucida Handwriting" panose="03010101010101010101" pitchFamily="66" charset="0"/>
              </a:rPr>
              <a:t>M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r>
              <a:rPr lang="en-GB" sz="1800" b="0" dirty="0"/>
              <a:t>Focus is on how to instruct a computer to do this task.</a:t>
            </a:r>
          </a:p>
          <a:p>
            <a:endParaRPr lang="en-GB" sz="1800" b="0" dirty="0"/>
          </a:p>
          <a:p>
            <a:r>
              <a:rPr lang="en-GB" sz="1800" b="0" dirty="0"/>
              <a:t>“</a:t>
            </a:r>
            <a:r>
              <a:rPr lang="en-US" sz="1800" b="0" dirty="0"/>
              <a:t>The field of machine learning is concerned with the question of </a:t>
            </a:r>
            <a:r>
              <a:rPr lang="en-US" sz="1800" dirty="0"/>
              <a:t>how to construct computer programs that automatically improve</a:t>
            </a:r>
            <a:r>
              <a:rPr lang="en-US" sz="1800" b="0" dirty="0"/>
              <a:t> with experience.”</a:t>
            </a:r>
          </a:p>
          <a:p>
            <a:r>
              <a:rPr lang="en-US" sz="1200" b="0" dirty="0"/>
              <a:t>						          </a:t>
            </a:r>
            <a:r>
              <a:rPr lang="en-US" sz="1050" b="0" dirty="0"/>
              <a:t>Mitchell, T.M., Machine Learning, </a:t>
            </a:r>
            <a:r>
              <a:rPr lang="en-GB" sz="1050" b="0" dirty="0"/>
              <a:t>McGraw-Hill, 1997</a:t>
            </a:r>
          </a:p>
          <a:p>
            <a:endParaRPr lang="en-GB" sz="1800" b="0" dirty="0"/>
          </a:p>
          <a:p>
            <a:r>
              <a:rPr lang="en-GB" sz="1800" b="0" dirty="0"/>
              <a:t>In practice, the goal is usually prediction.</a:t>
            </a:r>
          </a:p>
          <a:p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928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typ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Supervised</a:t>
            </a:r>
          </a:p>
          <a:p>
            <a:pPr marL="1236452" lvl="2" indent="-457200"/>
            <a:r>
              <a:rPr lang="en-GB" sz="1800" dirty="0"/>
              <a:t>Classification</a:t>
            </a:r>
          </a:p>
          <a:p>
            <a:pPr marL="1236452" lvl="2" indent="-457200"/>
            <a:r>
              <a:rPr lang="en-GB" sz="1800" dirty="0"/>
              <a:t>Regression</a:t>
            </a:r>
          </a:p>
          <a:p>
            <a:pPr marL="1236452" lvl="2" indent="-457200"/>
            <a:endParaRPr lang="en-GB" sz="90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b="0" dirty="0"/>
              <a:t>Unsupervised</a:t>
            </a:r>
          </a:p>
          <a:p>
            <a:pPr marL="1236452" lvl="2" indent="-457200"/>
            <a:r>
              <a:rPr lang="en-GB" sz="1800" dirty="0"/>
              <a:t>Clustering</a:t>
            </a:r>
          </a:p>
          <a:p>
            <a:pPr marL="1236452" lvl="2" indent="-457200"/>
            <a:r>
              <a:rPr lang="en-GB" sz="1800" dirty="0"/>
              <a:t>Density estimation</a:t>
            </a:r>
          </a:p>
          <a:p>
            <a:pPr marL="1236452" lvl="2" indent="-457200"/>
            <a:r>
              <a:rPr lang="en-GB" sz="1800" dirty="0"/>
              <a:t>Visualisation</a:t>
            </a:r>
          </a:p>
          <a:p>
            <a:pPr marL="1236452" lvl="2" indent="-457200"/>
            <a:r>
              <a:rPr lang="en-GB" sz="1800" b="0" dirty="0"/>
              <a:t>Data mining</a:t>
            </a:r>
          </a:p>
          <a:p>
            <a:pPr marL="1236452" lvl="2" indent="-457200"/>
            <a:endParaRPr lang="en-GB" sz="900" b="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Reinforcement learning</a:t>
            </a:r>
          </a:p>
          <a:p>
            <a:pPr lvl="1" indent="0">
              <a:buNone/>
            </a:pPr>
            <a:endParaRPr lang="en-GB" sz="1800" dirty="0"/>
          </a:p>
          <a:p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448739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</p:spTree>
    <p:extLst>
      <p:ext uri="{BB962C8B-B14F-4D97-AF65-F5344CB8AC3E}">
        <p14:creationId xmlns:p14="http://schemas.microsoft.com/office/powerpoint/2010/main" val="59859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LW 2017 Site Visit Wide format.potx</Template>
  <TotalTime>12985</TotalTime>
  <Words>2990</Words>
  <Application>Microsoft Macintosh PowerPoint</Application>
  <PresentationFormat>On-screen Show (16:9)</PresentationFormat>
  <Paragraphs>639</Paragraphs>
  <Slides>67</Slides>
  <Notes>5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73" baseType="lpstr">
      <vt:lpstr>Arial</vt:lpstr>
      <vt:lpstr>Calibri</vt:lpstr>
      <vt:lpstr>Cambria Math</vt:lpstr>
      <vt:lpstr>Lucida Handwriting</vt:lpstr>
      <vt:lpstr>MLW 2017 Site Visit Wide format</vt:lpstr>
      <vt:lpstr>think-cell Slide</vt:lpstr>
      <vt:lpstr>PowerPoint Presentation</vt:lpstr>
      <vt:lpstr>Resources</vt:lpstr>
      <vt:lpstr>Background</vt:lpstr>
      <vt:lpstr>Artificial intelligence, machine learning, data mining</vt:lpstr>
      <vt:lpstr>Artificial intelligence</vt:lpstr>
      <vt:lpstr>Artificial intelligence</vt:lpstr>
      <vt:lpstr>Machine learning</vt:lpstr>
      <vt:lpstr>Machine learning - types</vt:lpstr>
      <vt:lpstr>Machine learning - algorithms</vt:lpstr>
      <vt:lpstr>… &amp; statistics?</vt:lpstr>
      <vt:lpstr>Statistics</vt:lpstr>
      <vt:lpstr>Machine learning - algorithms</vt:lpstr>
      <vt:lpstr>Statistics</vt:lpstr>
      <vt:lpstr>Statistics – bias-variance trade-off</vt:lpstr>
      <vt:lpstr>Statistics – bias-variance trade-off</vt:lpstr>
      <vt:lpstr>Statistics – bias-variance trade-off</vt:lpstr>
      <vt:lpstr>Statistics – SS as an error function for optimisation</vt:lpstr>
      <vt:lpstr>Statistics</vt:lpstr>
      <vt:lpstr>Statistics</vt:lpstr>
      <vt:lpstr>Statistical decision theory</vt:lpstr>
      <vt:lpstr>An overly broad generalisation…</vt:lpstr>
      <vt:lpstr>An overly broad generalisation…</vt:lpstr>
      <vt:lpstr>An overly broad generalisation…</vt:lpstr>
      <vt:lpstr>Reasoning under uncertainty</vt:lpstr>
      <vt:lpstr>Statistics &amp; machine learning</vt:lpstr>
      <vt:lpstr>Terminology / history</vt:lpstr>
      <vt:lpstr>PowerPoint Presentation</vt:lpstr>
      <vt:lpstr>Equivalent terminology &amp; models</vt:lpstr>
      <vt:lpstr>12 key (statistical) techniques for data scientist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Machine learning tools for statisticians</vt:lpstr>
      <vt:lpstr>Resources</vt:lpstr>
      <vt:lpstr>Resources</vt:lpstr>
      <vt:lpstr>Resources</vt:lpstr>
      <vt:lpstr>Thank you.</vt:lpstr>
      <vt:lpstr>Shift in research model</vt:lpstr>
      <vt:lpstr>Multi-scale research &amp; new research model</vt:lpstr>
      <vt:lpstr>AI &amp; ML in medicin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erthaud, Fanny</dc:creator>
  <cp:lastModifiedBy>Marc Henrion</cp:lastModifiedBy>
  <cp:revision>768</cp:revision>
  <cp:lastPrinted>2017-03-29T06:08:15Z</cp:lastPrinted>
  <dcterms:created xsi:type="dcterms:W3CDTF">2010-04-13T12:31:45Z</dcterms:created>
  <dcterms:modified xsi:type="dcterms:W3CDTF">2021-07-22T07:1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UNITAID 2014 (A4)</vt:lpwstr>
  </property>
  <property fmtid="{D5CDD505-2E9C-101B-9397-08002B2CF9AE}" pid="4" name="Template Name">
    <vt:lpwstr>A4</vt:lpwstr>
  </property>
</Properties>
</file>